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2" r:id="rId3"/>
    <p:sldMasterId id="2147483660" r:id="rId4"/>
    <p:sldMasterId id="2147483674" r:id="rId5"/>
  </p:sldMasterIdLst>
  <p:sldIdLst>
    <p:sldId id="265" r:id="rId6"/>
    <p:sldId id="264" r:id="rId7"/>
    <p:sldId id="266" r:id="rId8"/>
    <p:sldId id="263" r:id="rId9"/>
    <p:sldId id="26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43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3.xml"/><Relationship Id="rId15" Type="http://schemas.microsoft.com/office/2016/11/relationships/changesInfo" Target="changesInfos/changesInfo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riVishnu MS" userId="51f3f043-2701-4a81-8002-15da62c12a4d" providerId="ADAL" clId="{147AF211-15C4-4123-80FC-A0F8800DBB10}"/>
    <pc:docChg chg="modSld">
      <pc:chgData name="SriVishnu MS" userId="51f3f043-2701-4a81-8002-15da62c12a4d" providerId="ADAL" clId="{147AF211-15C4-4123-80FC-A0F8800DBB10}" dt="2024-05-21T10:06:31.200" v="1" actId="20577"/>
      <pc:docMkLst>
        <pc:docMk/>
      </pc:docMkLst>
      <pc:sldChg chg="modSp mod">
        <pc:chgData name="SriVishnu MS" userId="51f3f043-2701-4a81-8002-15da62c12a4d" providerId="ADAL" clId="{147AF211-15C4-4123-80FC-A0F8800DBB10}" dt="2024-05-21T10:06:31.200" v="1" actId="20577"/>
        <pc:sldMkLst>
          <pc:docMk/>
          <pc:sldMk cId="423890310" sldId="263"/>
        </pc:sldMkLst>
        <pc:spChg chg="mod">
          <ac:chgData name="SriVishnu MS" userId="51f3f043-2701-4a81-8002-15da62c12a4d" providerId="ADAL" clId="{147AF211-15C4-4123-80FC-A0F8800DBB10}" dt="2024-05-21T10:06:31.200" v="1" actId="20577"/>
          <ac:spMkLst>
            <pc:docMk/>
            <pc:sldMk cId="423890310" sldId="263"/>
            <ac:spMk id="2" creationId="{A74FA802-49B4-0B9A-1BB1-559D4557FFF4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jpe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071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7850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677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926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2419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4894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979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127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0984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928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67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48899" y="1583058"/>
            <a:ext cx="5817704" cy="1608577"/>
          </a:xfrm>
        </p:spPr>
        <p:txBody>
          <a:bodyPr anchor="t">
            <a:normAutofit/>
          </a:bodyPr>
          <a:lstStyle>
            <a:lvl1pPr algn="l">
              <a:lnSpc>
                <a:spcPts val="5760"/>
              </a:lnSpc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48899" y="3191635"/>
            <a:ext cx="5809660" cy="1655763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F5514800-9E53-3647-9298-179C3C3F9A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01" y="6435727"/>
            <a:ext cx="918124" cy="16107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26B589A-4D4B-484E-9F67-27DEC61E30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6803" y="1"/>
            <a:ext cx="2563044" cy="160190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9C8922-D68F-9440-B8A7-48E7DAB4C3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91D119-D607-FF47-BC77-DEF554FDAD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8EC3E7A-3CF3-4CF0-8138-D55EF464EF9D}"/>
              </a:ext>
            </a:extLst>
          </p:cNvPr>
          <p:cNvGrpSpPr/>
          <p:nvPr userDrawn="1"/>
        </p:nvGrpSpPr>
        <p:grpSpPr>
          <a:xfrm>
            <a:off x="1487054" y="6316699"/>
            <a:ext cx="577791" cy="424261"/>
            <a:chOff x="1115290" y="4737524"/>
            <a:chExt cx="433343" cy="31819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9C70E8D-12D7-45D9-8043-316574CAD90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161437" y="4737524"/>
              <a:ext cx="387196" cy="318196"/>
              <a:chOff x="1700769" y="71667"/>
              <a:chExt cx="890150" cy="731520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FA714D2-6941-4174-A285-BEE872CB29CE}"/>
                  </a:ext>
                </a:extLst>
              </p:cNvPr>
              <p:cNvSpPr/>
              <p:nvPr userDrawn="1"/>
            </p:nvSpPr>
            <p:spPr>
              <a:xfrm>
                <a:off x="1828159" y="113233"/>
                <a:ext cx="649224" cy="6492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E085582-3FA1-42BE-BBB1-3D2A235FCCF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036" t="4237" r="9905" b="38404"/>
              <a:stretch/>
            </p:blipFill>
            <p:spPr>
              <a:xfrm>
                <a:off x="1700769" y="71667"/>
                <a:ext cx="890150" cy="731520"/>
              </a:xfrm>
              <a:prstGeom prst="rect">
                <a:avLst/>
              </a:prstGeom>
            </p:spPr>
          </p:pic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E2DB34-90A4-4B92-97B3-991291ACE0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5290" y="4766421"/>
              <a:ext cx="0" cy="27432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54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67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655820FE-7AFF-2849-9BF1-EC6FB8371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044" y="354582"/>
            <a:ext cx="1303329" cy="22865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485A3C2-C6DA-3E4C-9612-47B5582DF0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77773" y="109154"/>
            <a:ext cx="6865529" cy="4290956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F56B6B7-254C-994B-84B4-105A65CAC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7493" y="4412679"/>
            <a:ext cx="4156363" cy="1101432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750DE-0A00-43D3-8FBC-CA13974D73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38104" y="176423"/>
            <a:ext cx="744600" cy="611908"/>
            <a:chOff x="1700769" y="71667"/>
            <a:chExt cx="890150" cy="7315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6D1394-F8C4-4ADF-A581-D0F1A3B53626}"/>
                </a:ext>
              </a:extLst>
            </p:cNvPr>
            <p:cNvSpPr/>
            <p:nvPr userDrawn="1"/>
          </p:nvSpPr>
          <p:spPr>
            <a:xfrm>
              <a:off x="1828159" y="113233"/>
              <a:ext cx="649224" cy="6492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AE9E9F2-F676-4C3A-9968-916E63C2EAC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36" t="4237" r="9905" b="38404"/>
            <a:stretch/>
          </p:blipFill>
          <p:spPr>
            <a:xfrm>
              <a:off x="1700769" y="71667"/>
              <a:ext cx="890150" cy="731520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2D4557-A78B-4704-B93F-4553567B1BF5}"/>
              </a:ext>
            </a:extLst>
          </p:cNvPr>
          <p:cNvCxnSpPr/>
          <p:nvPr userDrawn="1"/>
        </p:nvCxnSpPr>
        <p:spPr>
          <a:xfrm>
            <a:off x="1921163" y="212438"/>
            <a:ext cx="0" cy="529713"/>
          </a:xfrm>
          <a:prstGeom prst="line">
            <a:avLst/>
          </a:prstGeom>
          <a:ln w="28575">
            <a:solidFill>
              <a:srgbClr val="FD6C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48899" y="1583058"/>
            <a:ext cx="5817704" cy="1608577"/>
          </a:xfrm>
        </p:spPr>
        <p:txBody>
          <a:bodyPr anchor="t">
            <a:normAutofit/>
          </a:bodyPr>
          <a:lstStyle>
            <a:lvl1pPr algn="l">
              <a:lnSpc>
                <a:spcPts val="5760"/>
              </a:lnSpc>
              <a:defRPr sz="3733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48899" y="3191635"/>
            <a:ext cx="5809660" cy="1655763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2667">
                <a:solidFill>
                  <a:schemeClr val="tx2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F5514800-9E53-3647-9298-179C3C3F9A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7201" y="6435727"/>
            <a:ext cx="918124" cy="16107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26B589A-4D4B-484E-9F67-27DEC61E30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6803" y="1"/>
            <a:ext cx="2563044" cy="160190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9C8922-D68F-9440-B8A7-48E7DAB4C3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91D119-D607-FF47-BC77-DEF554FDAD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8EC3E7A-3CF3-4CF0-8138-D55EF464EF9D}"/>
              </a:ext>
            </a:extLst>
          </p:cNvPr>
          <p:cNvGrpSpPr/>
          <p:nvPr userDrawn="1"/>
        </p:nvGrpSpPr>
        <p:grpSpPr>
          <a:xfrm>
            <a:off x="1487054" y="6316699"/>
            <a:ext cx="577791" cy="424261"/>
            <a:chOff x="1115290" y="4737524"/>
            <a:chExt cx="433343" cy="31819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9C70E8D-12D7-45D9-8043-316574CAD90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161437" y="4737524"/>
              <a:ext cx="387196" cy="318196"/>
              <a:chOff x="1700769" y="71667"/>
              <a:chExt cx="890150" cy="731520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FA714D2-6941-4174-A285-BEE872CB29CE}"/>
                  </a:ext>
                </a:extLst>
              </p:cNvPr>
              <p:cNvSpPr/>
              <p:nvPr userDrawn="1"/>
            </p:nvSpPr>
            <p:spPr>
              <a:xfrm>
                <a:off x="1828159" y="113233"/>
                <a:ext cx="649224" cy="6492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E085582-3FA1-42BE-BBB1-3D2A235FCCF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036" t="4237" r="9905" b="38404"/>
              <a:stretch/>
            </p:blipFill>
            <p:spPr>
              <a:xfrm>
                <a:off x="1700769" y="71667"/>
                <a:ext cx="890150" cy="731520"/>
              </a:xfrm>
              <a:prstGeom prst="rect">
                <a:avLst/>
              </a:prstGeom>
            </p:spPr>
          </p:pic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E2DB34-90A4-4B92-97B3-991291ACE0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5290" y="4766421"/>
              <a:ext cx="0" cy="27432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681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388" y="1335603"/>
            <a:ext cx="10980385" cy="4729163"/>
          </a:xfrm>
        </p:spPr>
        <p:txBody>
          <a:bodyPr>
            <a:normAutofit/>
          </a:bodyPr>
          <a:lstStyle>
            <a:lvl1pPr marL="385224" indent="-385224">
              <a:lnSpc>
                <a:spcPct val="100000"/>
              </a:lnSpc>
              <a:tabLst/>
              <a:defRPr sz="2133"/>
            </a:lvl1pPr>
            <a:lvl2pPr>
              <a:lnSpc>
                <a:spcPct val="100000"/>
              </a:lnSpc>
              <a:defRPr sz="2133"/>
            </a:lvl2pPr>
            <a:lvl3pPr>
              <a:lnSpc>
                <a:spcPct val="100000"/>
              </a:lnSpc>
              <a:defRPr sz="2133"/>
            </a:lvl3pPr>
            <a:lvl4pPr>
              <a:lnSpc>
                <a:spcPct val="100000"/>
              </a:lnSpc>
              <a:defRPr sz="2133"/>
            </a:lvl4pPr>
            <a:lvl5pPr>
              <a:lnSpc>
                <a:spcPct val="100000"/>
              </a:lnSpc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65502" y="268036"/>
            <a:ext cx="11029815" cy="984251"/>
          </a:xfrm>
        </p:spPr>
        <p:txBody>
          <a:bodyPr>
            <a:normAutofit/>
          </a:bodyPr>
          <a:lstStyle>
            <a:lvl1pPr>
              <a:lnSpc>
                <a:spcPts val="3520"/>
              </a:lnSpc>
              <a:defRPr sz="29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78684B-60BA-0F45-B145-FFDECDF5F6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88DCBA-E4A7-3B43-9969-F978812F50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6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3" y="1328737"/>
            <a:ext cx="5162551" cy="4729163"/>
          </a:xfrm>
        </p:spPr>
        <p:txBody>
          <a:bodyPr>
            <a:normAutofit/>
          </a:bodyPr>
          <a:lstStyle>
            <a:lvl1pPr marL="319609" indent="-319609">
              <a:lnSpc>
                <a:spcPts val="2240"/>
              </a:lnSpc>
              <a:tabLst/>
              <a:defRPr sz="1867"/>
            </a:lvl1pPr>
            <a:lvl2pPr>
              <a:lnSpc>
                <a:spcPts val="2240"/>
              </a:lnSpc>
              <a:defRPr sz="1867"/>
            </a:lvl2pPr>
            <a:lvl3pPr>
              <a:lnSpc>
                <a:spcPts val="2240"/>
              </a:lnSpc>
              <a:defRPr sz="1867"/>
            </a:lvl3pPr>
            <a:lvl4pPr>
              <a:lnSpc>
                <a:spcPts val="2240"/>
              </a:lnSpc>
              <a:defRPr sz="1867"/>
            </a:lvl4pPr>
            <a:lvl5pPr>
              <a:lnSpc>
                <a:spcPts val="2240"/>
              </a:lnSpc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65500" y="268036"/>
            <a:ext cx="11226800" cy="984251"/>
          </a:xfrm>
        </p:spPr>
        <p:txBody>
          <a:bodyPr>
            <a:normAutofit/>
          </a:bodyPr>
          <a:lstStyle>
            <a:lvl1pPr>
              <a:lnSpc>
                <a:spcPts val="3520"/>
              </a:lnSpc>
              <a:defRPr sz="29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6150245" y="1328737"/>
            <a:ext cx="5162551" cy="4729163"/>
          </a:xfrm>
        </p:spPr>
        <p:txBody>
          <a:bodyPr>
            <a:normAutofit/>
          </a:bodyPr>
          <a:lstStyle>
            <a:lvl1pPr marL="319609" indent="-319609">
              <a:lnSpc>
                <a:spcPts val="2240"/>
              </a:lnSpc>
              <a:tabLst/>
              <a:defRPr sz="1867"/>
            </a:lvl1pPr>
            <a:lvl2pPr>
              <a:lnSpc>
                <a:spcPts val="2240"/>
              </a:lnSpc>
              <a:defRPr sz="1867"/>
            </a:lvl2pPr>
            <a:lvl3pPr>
              <a:lnSpc>
                <a:spcPts val="2240"/>
              </a:lnSpc>
              <a:defRPr sz="1867"/>
            </a:lvl3pPr>
            <a:lvl4pPr>
              <a:lnSpc>
                <a:spcPts val="2240"/>
              </a:lnSpc>
              <a:defRPr sz="1867"/>
            </a:lvl4pPr>
            <a:lvl5pPr>
              <a:lnSpc>
                <a:spcPts val="2240"/>
              </a:lnSpc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B5E28A-1DAC-B04F-9AB7-CE23874A9F2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221F6-4C94-BE4C-8109-A98F5D49F7A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22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1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460503"/>
            <a:ext cx="4438193" cy="4597399"/>
          </a:xfrm>
        </p:spPr>
        <p:txBody>
          <a:bodyPr>
            <a:normAutofit/>
          </a:bodyPr>
          <a:lstStyle>
            <a:lvl1pPr marL="0" indent="0">
              <a:lnSpc>
                <a:spcPts val="2240"/>
              </a:lnSpc>
              <a:buNone/>
              <a:defRPr sz="1867"/>
            </a:lvl1pPr>
            <a:lvl2pPr marL="0" indent="0">
              <a:lnSpc>
                <a:spcPts val="2240"/>
              </a:lnSpc>
              <a:buNone/>
              <a:defRPr sz="1867" b="1"/>
            </a:lvl2pPr>
            <a:lvl3pPr marL="0" indent="0">
              <a:lnSpc>
                <a:spcPts val="2240"/>
              </a:lnSpc>
              <a:buNone/>
              <a:defRPr sz="1867"/>
            </a:lvl3pPr>
            <a:lvl4pPr marL="0" indent="0">
              <a:lnSpc>
                <a:spcPts val="2240"/>
              </a:lnSpc>
              <a:buNone/>
              <a:defRPr sz="1867" b="1"/>
            </a:lvl4pPr>
            <a:lvl5pPr marL="0" indent="0">
              <a:lnSpc>
                <a:spcPts val="2240"/>
              </a:lnSpc>
              <a:buNone/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99371" y="342396"/>
            <a:ext cx="6258016" cy="5714385"/>
          </a:xfrm>
        </p:spPr>
        <p:txBody>
          <a:bodyPr>
            <a:normAutofit/>
          </a:bodyPr>
          <a:lstStyle>
            <a:lvl1pPr>
              <a:lnSpc>
                <a:spcPts val="2240"/>
              </a:lnSpc>
              <a:defRPr sz="1867"/>
            </a:lvl1pPr>
          </a:lstStyle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98404" y="6362576"/>
            <a:ext cx="4408489" cy="196851"/>
          </a:xfrm>
          <a:prstGeom prst="rect">
            <a:avLst/>
          </a:prstGeom>
        </p:spPr>
        <p:txBody>
          <a:bodyPr/>
          <a:lstStyle>
            <a:lvl1pPr algn="r">
              <a:defRPr sz="1107"/>
            </a:lvl1pPr>
          </a:lstStyle>
          <a:p>
            <a:endParaRPr lang="en-GB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5707" y="6362576"/>
            <a:ext cx="533400" cy="196851"/>
          </a:xfrm>
          <a:prstGeom prst="rect">
            <a:avLst/>
          </a:prstGeom>
        </p:spPr>
        <p:txBody>
          <a:bodyPr/>
          <a:lstStyle>
            <a:lvl1pPr algn="r">
              <a:defRPr sz="1107"/>
            </a:lvl1pPr>
          </a:lstStyle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65500" y="268036"/>
            <a:ext cx="4463181" cy="984251"/>
          </a:xfrm>
        </p:spPr>
        <p:txBody>
          <a:bodyPr>
            <a:normAutofit/>
          </a:bodyPr>
          <a:lstStyle>
            <a:lvl1pPr>
              <a:lnSpc>
                <a:spcPts val="3520"/>
              </a:lnSpc>
              <a:defRPr sz="29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304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2 Wid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491071" y="3352801"/>
            <a:ext cx="6258016" cy="2705099"/>
          </a:xfrm>
        </p:spPr>
        <p:txBody>
          <a:bodyPr>
            <a:normAutofit/>
          </a:bodyPr>
          <a:lstStyle>
            <a:lvl1pPr>
              <a:lnSpc>
                <a:spcPts val="2240"/>
              </a:lnSpc>
              <a:defRPr sz="1867"/>
            </a:lvl1pPr>
          </a:lstStyle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99371" y="348378"/>
            <a:ext cx="6258016" cy="2852023"/>
          </a:xfrm>
        </p:spPr>
        <p:txBody>
          <a:bodyPr>
            <a:normAutofit/>
          </a:bodyPr>
          <a:lstStyle>
            <a:lvl1pPr>
              <a:lnSpc>
                <a:spcPts val="2240"/>
              </a:lnSpc>
              <a:defRPr sz="1867"/>
            </a:lvl1pPr>
          </a:lstStyle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65500" y="268036"/>
            <a:ext cx="4748525" cy="984251"/>
          </a:xfrm>
        </p:spPr>
        <p:txBody>
          <a:bodyPr>
            <a:normAutofit/>
          </a:bodyPr>
          <a:lstStyle>
            <a:lvl1pPr>
              <a:lnSpc>
                <a:spcPts val="3520"/>
              </a:lnSpc>
              <a:defRPr sz="29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457199" y="1460503"/>
            <a:ext cx="4704947" cy="4597399"/>
          </a:xfrm>
        </p:spPr>
        <p:txBody>
          <a:bodyPr>
            <a:normAutofit/>
          </a:bodyPr>
          <a:lstStyle>
            <a:lvl1pPr>
              <a:lnSpc>
                <a:spcPts val="2240"/>
              </a:lnSpc>
              <a:defRPr sz="1867"/>
            </a:lvl1pPr>
            <a:lvl2pPr marL="207391" indent="-207391">
              <a:lnSpc>
                <a:spcPts val="2240"/>
              </a:lnSpc>
              <a:defRPr sz="1867" b="1"/>
            </a:lvl2pPr>
            <a:lvl3pPr marL="0" indent="0">
              <a:lnSpc>
                <a:spcPts val="2240"/>
              </a:lnSpc>
              <a:buNone/>
              <a:defRPr sz="1867"/>
            </a:lvl3pPr>
            <a:lvl4pPr marL="0" indent="0">
              <a:lnSpc>
                <a:spcPts val="2240"/>
              </a:lnSpc>
              <a:buNone/>
              <a:defRPr sz="1867" b="1"/>
            </a:lvl4pPr>
            <a:lvl5pPr marL="0" indent="0">
              <a:lnSpc>
                <a:spcPts val="2240"/>
              </a:lnSpc>
              <a:buNone/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ED6716-E1CA-684C-99A7-1408AA5AF3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92CA22-05E2-7D49-A8A2-64EA2A1F38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0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073"/>
            <a:ext cx="3581400" cy="3568699"/>
          </a:xfrm>
        </p:spPr>
        <p:txBody>
          <a:bodyPr>
            <a:normAutofit/>
          </a:bodyPr>
          <a:lstStyle>
            <a:lvl1pPr>
              <a:defRPr sz="1867"/>
            </a:lvl1pPr>
            <a:lvl2pPr marL="207391" indent="-207391">
              <a:defRPr sz="1867" b="1"/>
            </a:lvl2pPr>
            <a:lvl3pPr marL="0" indent="0">
              <a:buNone/>
              <a:defRPr sz="1867"/>
            </a:lvl3pPr>
            <a:lvl4pPr marL="0" indent="0">
              <a:buNone/>
              <a:defRPr sz="1867" b="1"/>
            </a:lvl4pPr>
            <a:lvl5pPr marL="0" indent="0">
              <a:buNone/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/>
          </p:nvPr>
        </p:nvSpPr>
        <p:spPr>
          <a:xfrm>
            <a:off x="4389120" y="1983232"/>
            <a:ext cx="7315200" cy="4048867"/>
          </a:xfrm>
        </p:spPr>
        <p:txBody>
          <a:bodyPr>
            <a:normAutofit/>
          </a:bodyPr>
          <a:lstStyle>
            <a:lvl1pPr>
              <a:defRPr sz="1867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58195" y="4990593"/>
            <a:ext cx="3429000" cy="1067308"/>
          </a:xfrm>
        </p:spPr>
        <p:txBody>
          <a:bodyPr anchor="b">
            <a:norm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98551" y="1260073"/>
            <a:ext cx="7263320" cy="755651"/>
          </a:xfr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18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65501" y="268036"/>
            <a:ext cx="11060003" cy="984251"/>
          </a:xfrm>
        </p:spPr>
        <p:txBody>
          <a:bodyPr>
            <a:normAutofit/>
          </a:bodyPr>
          <a:lstStyle>
            <a:lvl1pPr>
              <a:lnSpc>
                <a:spcPts val="3520"/>
              </a:lnSpc>
              <a:defRPr sz="293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55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48899" y="216151"/>
            <a:ext cx="5638800" cy="2021680"/>
          </a:xfrm>
        </p:spPr>
        <p:txBody>
          <a:bodyPr anchor="t">
            <a:normAutofit/>
          </a:bodyPr>
          <a:lstStyle>
            <a:lvl1pPr algn="l">
              <a:lnSpc>
                <a:spcPts val="5760"/>
              </a:lnSpc>
              <a:defRPr sz="3733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2"/>
          </p:nvPr>
        </p:nvSpPr>
        <p:spPr>
          <a:xfrm>
            <a:off x="448899" y="2237829"/>
            <a:ext cx="5105400" cy="1655763"/>
          </a:xfrm>
        </p:spPr>
        <p:txBody>
          <a:bodyPr>
            <a:normAutofit/>
          </a:bodyPr>
          <a:lstStyle>
            <a:lvl1pPr marL="0" indent="0" algn="l">
              <a:lnSpc>
                <a:spcPts val="2240"/>
              </a:lnSpc>
              <a:buNone/>
              <a:defRPr sz="1867">
                <a:solidFill>
                  <a:schemeClr val="tx1"/>
                </a:solidFill>
              </a:defRPr>
            </a:lvl1pPr>
            <a:lvl2pPr marL="609478" indent="0" algn="ctr">
              <a:buNone/>
              <a:defRPr sz="2667"/>
            </a:lvl2pPr>
            <a:lvl3pPr marL="1218956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077201" y="277020"/>
            <a:ext cx="3671888" cy="551418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609478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8956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43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7912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39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686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34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582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7916499" y="273673"/>
            <a:ext cx="0" cy="55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90F13B-8C77-D047-880F-07ECE766AF9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157DC8-FA7A-8D41-B627-0139EF5F0CE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571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(white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69D533D-BAFA-4C54-AC0B-4E997A585687}"/>
              </a:ext>
            </a:extLst>
          </p:cNvPr>
          <p:cNvGrpSpPr/>
          <p:nvPr userDrawn="1"/>
        </p:nvGrpSpPr>
        <p:grpSpPr>
          <a:xfrm>
            <a:off x="3185394" y="2933366"/>
            <a:ext cx="5808929" cy="1121399"/>
            <a:chOff x="3171825" y="2200024"/>
            <a:chExt cx="4356697" cy="84104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0D9DE92-2B7D-4194-A24F-EE5C425E99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71825" y="2321719"/>
              <a:ext cx="2800350" cy="488558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B84C447-21FC-49EC-A293-C3F90280B67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6507863" y="2201162"/>
              <a:ext cx="1020659" cy="838772"/>
              <a:chOff x="1700769" y="71667"/>
              <a:chExt cx="890150" cy="731520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77D6E75E-BB6B-4264-8678-117DB4E6E255}"/>
                  </a:ext>
                </a:extLst>
              </p:cNvPr>
              <p:cNvSpPr/>
              <p:nvPr userDrawn="1"/>
            </p:nvSpPr>
            <p:spPr>
              <a:xfrm>
                <a:off x="1828159" y="113233"/>
                <a:ext cx="649224" cy="6492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295BB63D-13CB-46F5-A067-ABA0AF2D58C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036" t="4237" r="9905" b="38404"/>
              <a:stretch/>
            </p:blipFill>
            <p:spPr>
              <a:xfrm>
                <a:off x="1700769" y="71667"/>
                <a:ext cx="890150" cy="731520"/>
              </a:xfrm>
              <a:prstGeom prst="rect">
                <a:avLst/>
              </a:prstGeom>
            </p:spPr>
          </p:pic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74A0B513-C4CF-4D97-AB2E-D13661FC72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17672" y="2200024"/>
              <a:ext cx="0" cy="841049"/>
            </a:xfrm>
            <a:prstGeom prst="line">
              <a:avLst/>
            </a:prstGeom>
            <a:ln w="57150">
              <a:solidFill>
                <a:srgbClr val="0E27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9474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0.jpeg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11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21-May-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176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D10751-E719-4891-90CD-420672070F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3" imgH="473" progId="TCLayout.ActiveDocument.1">
                  <p:embed/>
                </p:oleObj>
              </mc:Choice>
              <mc:Fallback>
                <p:oleObj name="think-cell Slide" r:id="rId18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BD10751-E719-4891-90CD-420672070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9EC073-2E9D-426E-BAD2-94F799122F1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255585"/>
            <a:ext cx="10711543" cy="9842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28737"/>
            <a:ext cx="10711543" cy="47291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22937" y="6362576"/>
            <a:ext cx="2483956" cy="196851"/>
          </a:xfrm>
          <a:prstGeom prst="rect">
            <a:avLst/>
          </a:prstGeom>
        </p:spPr>
        <p:txBody>
          <a:bodyPr/>
          <a:lstStyle>
            <a:lvl1pPr>
              <a:defRPr sz="1107">
                <a:solidFill>
                  <a:schemeClr val="tx2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5707" y="6362576"/>
            <a:ext cx="533400" cy="196851"/>
          </a:xfrm>
          <a:prstGeom prst="rect">
            <a:avLst/>
          </a:prstGeom>
        </p:spPr>
        <p:txBody>
          <a:bodyPr/>
          <a:lstStyle>
            <a:lvl1pPr algn="r">
              <a:defRPr sz="1107">
                <a:solidFill>
                  <a:schemeClr val="tx2"/>
                </a:solidFill>
              </a:defRPr>
            </a:lvl1pPr>
          </a:lstStyle>
          <a:p>
            <a:fld id="{33AA3FBC-51B8-426A-8893-284E5C1F6D1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Picture 4" descr="A close up of an object&#10;&#10;Description automatically generated">
            <a:extLst>
              <a:ext uri="{FF2B5EF4-FFF2-40B4-BE49-F238E27FC236}">
                <a16:creationId xmlns:a16="http://schemas.microsoft.com/office/drawing/2014/main" id="{C6D4484B-2B59-1B4F-B2D0-D5DD389EF1B8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457201" y="6435727"/>
            <a:ext cx="918124" cy="16107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D9045DEE-5D43-4349-915B-600989B29F4E}"/>
              </a:ext>
            </a:extLst>
          </p:cNvPr>
          <p:cNvGrpSpPr/>
          <p:nvPr userDrawn="1"/>
        </p:nvGrpSpPr>
        <p:grpSpPr>
          <a:xfrm>
            <a:off x="1487054" y="6316699"/>
            <a:ext cx="577791" cy="424261"/>
            <a:chOff x="1115290" y="4737524"/>
            <a:chExt cx="433343" cy="31819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FFD6FE0-D7A4-436C-B67C-443EB2BFA2C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161437" y="4737524"/>
              <a:ext cx="387196" cy="318196"/>
              <a:chOff x="1700769" y="71667"/>
              <a:chExt cx="890150" cy="73152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A5406BC6-8BF6-403B-A0ED-4A817056F271}"/>
                  </a:ext>
                </a:extLst>
              </p:cNvPr>
              <p:cNvSpPr/>
              <p:nvPr userDrawn="1"/>
            </p:nvSpPr>
            <p:spPr>
              <a:xfrm>
                <a:off x="1828159" y="113233"/>
                <a:ext cx="649224" cy="6492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9BBC311-593C-48C6-80C9-0009418DAA3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036" t="4237" r="9905" b="38404"/>
              <a:stretch/>
            </p:blipFill>
            <p:spPr>
              <a:xfrm>
                <a:off x="1700769" y="71667"/>
                <a:ext cx="890150" cy="731520"/>
              </a:xfrm>
              <a:prstGeom prst="rect">
                <a:avLst/>
              </a:prstGeom>
            </p:spPr>
          </p:pic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1C61BF9-0AC1-4579-B86C-13E1DE1118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5290" y="4766421"/>
              <a:ext cx="0" cy="27432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2044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0" r:id="rId2"/>
    <p:sldLayoutId id="2147483799" r:id="rId3"/>
    <p:sldLayoutId id="2147483798" r:id="rId4"/>
    <p:sldLayoutId id="2147483797" r:id="rId5"/>
    <p:sldLayoutId id="2147483706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218956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0E2768"/>
          </a:solidFill>
          <a:latin typeface="+mj-lt"/>
          <a:ea typeface="+mj-ea"/>
          <a:cs typeface="+mj-cs"/>
        </a:defRPr>
      </a:lvl1pPr>
    </p:titleStyle>
    <p:bodyStyle>
      <a:lvl1pPr marL="207391" indent="-207391" algn="l" defTabSz="1218956" rtl="0" eaLnBrk="1" latinLnBrk="0" hangingPunct="1">
        <a:lnSpc>
          <a:spcPct val="100000"/>
        </a:lnSpc>
        <a:spcBef>
          <a:spcPts val="1067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indent="-304739" algn="l" defTabSz="1218956" rtl="0" eaLnBrk="1" latinLnBrk="0" hangingPunct="1">
        <a:lnSpc>
          <a:spcPct val="100000"/>
        </a:lnSpc>
        <a:spcBef>
          <a:spcPts val="1067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695" indent="-304739" algn="l" defTabSz="1218956" rtl="0" eaLnBrk="1" latinLnBrk="0" hangingPunct="1">
        <a:lnSpc>
          <a:spcPct val="100000"/>
        </a:lnSpc>
        <a:spcBef>
          <a:spcPts val="1067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2133173" indent="-304739" algn="l" defTabSz="1218956" rtl="0" eaLnBrk="1" latinLnBrk="0" hangingPunct="1">
        <a:lnSpc>
          <a:spcPct val="100000"/>
        </a:lnSpc>
        <a:spcBef>
          <a:spcPts val="1067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2651" indent="-304739" algn="l" defTabSz="1218956" rtl="0" eaLnBrk="1" latinLnBrk="0" hangingPunct="1">
        <a:lnSpc>
          <a:spcPct val="100000"/>
        </a:lnSpc>
        <a:spcBef>
          <a:spcPts val="1067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130" indent="-304739" algn="l" defTabSz="1218956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608" indent="-304739" algn="l" defTabSz="1218956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86" indent="-304739" algn="l" defTabSz="1218956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564" indent="-304739" algn="l" defTabSz="1218956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8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56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34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12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90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69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47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25" algn="l" defTabSz="121895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90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145B9-6CA5-CFA0-FDD0-193E776A43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8541" y="1583058"/>
            <a:ext cx="6027084" cy="1608577"/>
          </a:xfrm>
        </p:spPr>
        <p:txBody>
          <a:bodyPr>
            <a:normAutofit/>
          </a:bodyPr>
          <a:lstStyle/>
          <a:p>
            <a:r>
              <a:rPr lang="en-US" dirty="0"/>
              <a:t>RBQM -WIREFRAME UPDAT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C385D-BD54-72BD-D86D-6732E4CD3F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78541" y="2850976"/>
            <a:ext cx="1676400" cy="681318"/>
          </a:xfrm>
        </p:spPr>
        <p:txBody>
          <a:bodyPr lIns="91440" tIns="45720" rIns="91440" bIns="45720" anchor="t"/>
          <a:lstStyle/>
          <a:p>
            <a:pPr algn="r">
              <a:defRPr/>
            </a:pPr>
            <a:endParaRPr lang="en-GB" sz="1850" dirty="0">
              <a:solidFill>
                <a:srgbClr val="081538"/>
              </a:solidFill>
              <a:latin typeface="Arial"/>
            </a:endParaRPr>
          </a:p>
          <a:p>
            <a:pPr algn="r">
              <a:defRPr/>
            </a:pPr>
            <a:r>
              <a:rPr lang="en-GB" sz="1850" dirty="0">
                <a:solidFill>
                  <a:srgbClr val="081538"/>
                </a:solidFill>
                <a:latin typeface="Arial"/>
              </a:rPr>
              <a:t>16</a:t>
            </a:r>
            <a:r>
              <a:rPr lang="en-GB" sz="1850" baseline="30000" dirty="0">
                <a:solidFill>
                  <a:srgbClr val="081538"/>
                </a:solidFill>
                <a:latin typeface="Arial"/>
              </a:rPr>
              <a:t>th</a:t>
            </a:r>
            <a:r>
              <a:rPr kumimoji="0" lang="en-GB" sz="1850" b="0" i="0" u="none" strike="noStrike" kern="1200" cap="none" spc="0" normalizeH="0" baseline="0" noProof="0" dirty="0">
                <a:ln>
                  <a:noFill/>
                </a:ln>
                <a:solidFill>
                  <a:srgbClr val="0815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</a:t>
            </a:r>
            <a:r>
              <a:rPr lang="en-GB" sz="1850" dirty="0">
                <a:solidFill>
                  <a:srgbClr val="081538"/>
                </a:solidFill>
                <a:latin typeface="Arial"/>
              </a:rPr>
              <a:t>May</a:t>
            </a:r>
            <a:r>
              <a:rPr kumimoji="0" lang="en-GB" sz="1850" b="0" i="0" u="none" strike="noStrike" kern="1200" cap="none" spc="0" normalizeH="0" baseline="0" noProof="0" dirty="0">
                <a:ln>
                  <a:noFill/>
                </a:ln>
                <a:solidFill>
                  <a:srgbClr val="0815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4</a:t>
            </a:r>
            <a:endParaRPr lang="en-GB" sz="1850" b="0" i="0" u="none" strike="noStrike" kern="1200" cap="none" spc="0" normalizeH="0" baseline="0" noProof="0" dirty="0">
              <a:ln>
                <a:noFill/>
              </a:ln>
              <a:solidFill>
                <a:srgbClr val="08153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8A9368-1006-7EA6-9E71-228C1620E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AA3FBC-51B8-426A-8893-284E5C1F6D1D}" type="slidenum">
              <a:rPr kumimoji="0" lang="en-GB" sz="1107" b="0" i="0" u="none" strike="noStrike" kern="1200" cap="none" spc="0" normalizeH="0" baseline="0" noProof="0" smtClean="0">
                <a:ln>
                  <a:noFill/>
                </a:ln>
                <a:solidFill>
                  <a:srgbClr val="0815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7" b="0" i="0" u="none" strike="noStrike" kern="1200" cap="none" spc="0" normalizeH="0" baseline="0" noProof="0">
              <a:ln>
                <a:noFill/>
              </a:ln>
              <a:solidFill>
                <a:srgbClr val="0815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23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4FA802-49B4-0B9A-1BB1-559D4557F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69" y="418011"/>
            <a:ext cx="11971210" cy="594456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US" sz="1400" b="1" dirty="0">
              <a:latin typeface="Calibri"/>
              <a:ea typeface="+mn-lt"/>
              <a:cs typeface="Calibri"/>
            </a:endParaRPr>
          </a:p>
          <a:p>
            <a:pPr marL="510540" lvl="1" indent="0">
              <a:buNone/>
            </a:pPr>
            <a:endParaRPr lang="en-US" sz="1400" b="1" dirty="0">
              <a:latin typeface="Calibri"/>
              <a:ea typeface="+mn-lt"/>
              <a:cs typeface="Calibri"/>
            </a:endParaRPr>
          </a:p>
          <a:p>
            <a:pPr marL="510540" lvl="1" indent="0">
              <a:buNone/>
            </a:pPr>
            <a:r>
              <a:rPr lang="en-US" sz="1400" b="1" dirty="0">
                <a:latin typeface="Calibri"/>
                <a:ea typeface="+mn-lt"/>
                <a:cs typeface="Calibri"/>
              </a:rPr>
              <a:t>1) Action Items:</a:t>
            </a:r>
            <a:endParaRPr lang="en-US" sz="1400" dirty="0">
              <a:latin typeface="Calibri"/>
              <a:ea typeface="+mn-lt"/>
              <a:cs typeface="Calibri"/>
            </a:endParaRPr>
          </a:p>
          <a:p>
            <a:pPr marL="814705" lvl="1" indent="-304165">
              <a:buFont typeface="Courier New,monospace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Worked on the KPI card and implemented the wireframe as we discussed on Last call</a:t>
            </a:r>
          </a:p>
          <a:p>
            <a:pPr marL="814705" lvl="1" indent="-304165">
              <a:buFont typeface="Courier New,monospace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implemented the High-Risk Toggle which shows only the HR studies</a:t>
            </a:r>
          </a:p>
          <a:p>
            <a:pPr marL="814705" lvl="1" indent="-304165">
              <a:buFont typeface="Courier New,monospace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Added the Risk score on the top of the study number and compare studies capped up to 20 </a:t>
            </a:r>
          </a:p>
          <a:p>
            <a:pPr marL="814705" lvl="1" indent="-304165">
              <a:buFont typeface="Courier New,monospace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Added the Details view icon on the search bar which show the details about the criterion why a particular site is in high risk or low risk</a:t>
            </a:r>
          </a:p>
          <a:p>
            <a:pPr marL="814705" lvl="1" indent="-304165">
              <a:buFont typeface="Courier New,monospace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We have added Guide view on the top next to Notification. This will give a short demo of how the tool work – WIP</a:t>
            </a:r>
          </a:p>
          <a:p>
            <a:pPr marL="528955" lvl="1" indent="0">
              <a:buNone/>
            </a:pPr>
            <a:r>
              <a:rPr lang="en-US" sz="1400" b="1" dirty="0">
                <a:latin typeface="Calibri"/>
                <a:ea typeface="+mn-lt"/>
                <a:cs typeface="Calibri"/>
              </a:rPr>
              <a:t>2) Queries:</a:t>
            </a:r>
            <a:endParaRPr lang="en-US" sz="1400" dirty="0">
              <a:latin typeface="Calibri"/>
              <a:cs typeface="Calibri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Adding SLA/deadline for a particular action that should be performed by the site monitors. So, if the action is not completed before the deadline there will be a color change in the site.</a:t>
            </a:r>
          </a:p>
          <a:p>
            <a:pPr marL="814705" lvl="1" indent="-304165">
              <a:buFont typeface="Courier New" panose="020B0604020202020204" pitchFamily="34" charset="0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Adding 4 more new metrics: </a:t>
            </a:r>
            <a:r>
              <a:rPr lang="en-US" sz="140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pen Action Items, Percentage of ECRF Pages Submitted, Percentage of Queries Resolved,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Percentage of Principal Investigator Signatures</a:t>
            </a:r>
            <a:endParaRPr lang="en-US" sz="140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Adding a feel-good factor for the site monitors like keeping a record of completed actions for the Site Monitors.</a:t>
            </a:r>
          </a:p>
          <a:p>
            <a:pPr marL="814705" lvl="1" indent="-304165">
              <a:buFont typeface="Courier New" panose="020B0604020202020204" pitchFamily="34" charset="0"/>
              <a:buChar char="o"/>
            </a:pPr>
            <a:r>
              <a:rPr lang="en-US" sz="1400" dirty="0">
                <a:latin typeface="Calibri"/>
                <a:ea typeface="+mn-lt"/>
                <a:cs typeface="Calibri"/>
              </a:rPr>
              <a:t>Keeping an eye icon in each KRI measures so that if we click the eye icon, they can see the calculations about how they calculated that particular measure.</a:t>
            </a:r>
          </a:p>
          <a:p>
            <a:pPr marL="510540" lvl="1" indent="0">
              <a:buNone/>
            </a:pPr>
            <a:endParaRPr lang="en-US" sz="1400" dirty="0">
              <a:latin typeface="Calibri"/>
              <a:ea typeface="+mn-lt"/>
              <a:cs typeface="Calibri"/>
            </a:endParaRPr>
          </a:p>
          <a:p>
            <a:pPr marL="528955" lvl="1" indent="0">
              <a:buNone/>
            </a:pPr>
            <a:endParaRPr lang="en-US" sz="1400" b="1" dirty="0">
              <a:latin typeface="Calibri"/>
              <a:ea typeface="+mn-lt"/>
              <a:cs typeface="Calibri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400" dirty="0">
              <a:latin typeface="Calibri"/>
              <a:ea typeface="+mn-lt"/>
              <a:cs typeface="Calibri"/>
            </a:endParaRPr>
          </a:p>
          <a:p>
            <a:pPr marL="510540" lvl="1" indent="0">
              <a:buNone/>
            </a:pPr>
            <a:endParaRPr lang="en-US" sz="1400" dirty="0">
              <a:latin typeface="Calibri"/>
              <a:cs typeface="Calibri"/>
            </a:endParaRPr>
          </a:p>
          <a:p>
            <a:pPr marL="510540" lvl="1" indent="0">
              <a:buNone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0540" lvl="1" indent="0">
              <a:buNone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4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4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8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Arial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8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8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800" dirty="0">
              <a:latin typeface="Calibri" panose="020F0502020204030204" pitchFamily="34" charset="0"/>
              <a:ea typeface="+mn-lt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ea typeface="+mn-lt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ea typeface="+mn-lt"/>
              <a:cs typeface="Arial"/>
            </a:endParaRPr>
          </a:p>
          <a:p>
            <a:pPr marL="0" indent="0">
              <a:buNone/>
            </a:pPr>
            <a:r>
              <a:rPr lang="en-US" sz="1800" b="1" dirty="0">
                <a:latin typeface="Calibri"/>
                <a:ea typeface="+mn-lt"/>
                <a:cs typeface="Calibri"/>
              </a:rPr>
              <a:t>    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br>
              <a:rPr lang="en-US" sz="1800" b="1" dirty="0">
                <a:latin typeface="Calibri"/>
                <a:ea typeface="+mn-lt"/>
                <a:cs typeface="Calibri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         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br>
              <a:rPr lang="en-US" sz="1800" b="1" dirty="0">
                <a:ea typeface="+mn-lt"/>
                <a:cs typeface="+mn-lt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     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 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endParaRPr lang="en-US" sz="1800" b="1" dirty="0">
              <a:latin typeface="Calibri"/>
              <a:ea typeface="Calibri"/>
              <a:cs typeface="Calibri"/>
            </a:endParaRPr>
          </a:p>
          <a:p>
            <a:pPr marL="0" indent="0">
              <a:buNone/>
            </a:pPr>
            <a:br>
              <a:rPr lang="en-US" sz="1800" b="1" dirty="0">
                <a:latin typeface="Calibri"/>
                <a:cs typeface="Calibri"/>
              </a:rPr>
            </a:br>
            <a:br>
              <a:rPr lang="en-US" sz="1800" b="1" dirty="0">
                <a:latin typeface="Calibri"/>
                <a:cs typeface="Calibri"/>
              </a:rPr>
            </a:br>
            <a:endParaRPr lang="en-US" sz="1800" b="1" dirty="0">
              <a:latin typeface="Calibri"/>
              <a:ea typeface="Calibri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AF65A2-CC78-92E2-D2C5-952A3A52F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726" y="191836"/>
            <a:ext cx="11029815" cy="454569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91E4CE-D04B-5AA5-7261-17067EBB19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AA3FBC-51B8-426A-8893-284E5C1F6D1D}" type="slidenum">
              <a:rPr kumimoji="0" lang="en-GB" sz="1107" b="0" i="0" u="none" strike="noStrike" kern="1200" cap="none" spc="0" normalizeH="0" baseline="0" noProof="0" smtClean="0">
                <a:ln>
                  <a:noFill/>
                </a:ln>
                <a:solidFill>
                  <a:srgbClr val="0815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7" b="0" i="0" u="none" strike="noStrike" kern="1200" cap="none" spc="0" normalizeH="0" baseline="0" noProof="0">
              <a:ln>
                <a:noFill/>
              </a:ln>
              <a:solidFill>
                <a:srgbClr val="0815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63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4FA802-49B4-0B9A-1BB1-559D4557F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69" y="418011"/>
            <a:ext cx="11971210" cy="594456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US" sz="1400" b="1" dirty="0">
              <a:latin typeface="Calibri"/>
              <a:ea typeface="+mn-lt"/>
              <a:cs typeface="Calibri"/>
            </a:endParaRPr>
          </a:p>
          <a:p>
            <a:pPr marL="510540" lvl="1" indent="0">
              <a:buNone/>
            </a:pPr>
            <a:r>
              <a:rPr lang="en-US" sz="1400" b="1" dirty="0">
                <a:latin typeface="Calibri"/>
                <a:ea typeface="+mn-lt"/>
                <a:cs typeface="Arial"/>
              </a:rPr>
              <a:t>3) RBQM (Development):</a:t>
            </a:r>
            <a:r>
              <a:rPr lang="en-US" sz="1400" dirty="0">
                <a:latin typeface="Calibri"/>
                <a:ea typeface="+mn-lt"/>
                <a:cs typeface="Arial"/>
              </a:rPr>
              <a:t> </a:t>
            </a:r>
            <a:endParaRPr lang="en-US" sz="1400" b="1" dirty="0">
              <a:latin typeface="Calibri" panose="020F0502020204030204" pitchFamily="34" charset="0"/>
              <a:ea typeface="+mn-lt"/>
              <a:cs typeface="Arial"/>
            </a:endParaRPr>
          </a:p>
          <a:p>
            <a:pPr marL="796290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latin typeface="Calibri"/>
                <a:ea typeface="+mn-lt"/>
                <a:cs typeface="Arial"/>
              </a:rPr>
              <a:t>Given the sorting functionality(ascending and descending) to the risk </a:t>
            </a:r>
          </a:p>
          <a:p>
            <a:pPr marL="796290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latin typeface="Calibri"/>
                <a:ea typeface="+mn-lt"/>
                <a:cs typeface="Arial"/>
              </a:rPr>
              <a:t>Given the sorting functionality to the date so that we can see the next date of visit </a:t>
            </a:r>
          </a:p>
          <a:p>
            <a:pPr marL="796290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latin typeface="Calibri"/>
                <a:ea typeface="+mn-lt"/>
                <a:cs typeface="Arial"/>
              </a:rPr>
              <a:t>Added the functionality for the eye icon which hides the heading in the card</a:t>
            </a:r>
          </a:p>
          <a:p>
            <a:pPr marL="796290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latin typeface="Calibri"/>
                <a:ea typeface="+mn-lt"/>
                <a:cs typeface="Arial"/>
              </a:rPr>
              <a:t>Added the table view, now you can switch between table-view and the default-view</a:t>
            </a:r>
          </a:p>
          <a:p>
            <a:pPr marL="796290" lvl="1" indent="-285750">
              <a:buFont typeface="Courier New" panose="02070309020205020404" pitchFamily="49" charset="0"/>
              <a:buChar char="o"/>
            </a:pPr>
            <a:endParaRPr lang="en-US" sz="1400" dirty="0">
              <a:latin typeface="Calibri"/>
              <a:ea typeface="+mn-lt"/>
              <a:cs typeface="Arial"/>
            </a:endParaRPr>
          </a:p>
          <a:p>
            <a:pPr marL="510540" lvl="1" indent="0">
              <a:buNone/>
            </a:pPr>
            <a:r>
              <a:rPr lang="en-US" sz="1400" dirty="0">
                <a:latin typeface="Calibri"/>
                <a:ea typeface="+mn-lt"/>
                <a:cs typeface="Calibri"/>
              </a:rPr>
              <a:t> </a:t>
            </a:r>
            <a:endParaRPr lang="en-US" sz="1400" dirty="0">
              <a:latin typeface="Arial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400" dirty="0">
              <a:latin typeface="Calibri" panose="020F0502020204030204" pitchFamily="34" charset="0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400" b="1" dirty="0">
              <a:latin typeface="Calibri" panose="020F0502020204030204" pitchFamily="34" charset="0"/>
              <a:ea typeface="+mn-lt"/>
              <a:cs typeface="Arial"/>
            </a:endParaRPr>
          </a:p>
          <a:p>
            <a:pPr marL="0" indent="0">
              <a:buNone/>
            </a:pPr>
            <a:br>
              <a:rPr lang="en-US" sz="1400" dirty="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</a:br>
            <a:endParaRPr lang="en-US" sz="1400" dirty="0"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400" dirty="0">
              <a:latin typeface="Calibri"/>
              <a:cs typeface="Calibri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800" dirty="0">
              <a:solidFill>
                <a:srgbClr val="081538"/>
              </a:solidFill>
              <a:latin typeface="Calibri" panose="020F0502020204030204" pitchFamily="34" charset="0"/>
              <a:ea typeface="+mn-lt"/>
              <a:cs typeface="Arial"/>
            </a:endParaRPr>
          </a:p>
          <a:p>
            <a:pPr marL="814705" lvl="1" indent="-304165">
              <a:buFont typeface="Courier New" panose="020B0604020202020204" pitchFamily="34" charset="0"/>
              <a:buChar char="o"/>
            </a:pPr>
            <a:endParaRPr lang="en-US" sz="1800" dirty="0">
              <a:solidFill>
                <a:srgbClr val="081538"/>
              </a:solidFill>
              <a:latin typeface="Calibri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800" dirty="0">
              <a:solidFill>
                <a:srgbClr val="081538"/>
              </a:solidFill>
              <a:latin typeface="Calibri"/>
              <a:ea typeface="+mn-lt"/>
              <a:cs typeface="Arial"/>
            </a:endParaRPr>
          </a:p>
          <a:p>
            <a:pPr marL="510540" lvl="1" indent="0">
              <a:buNone/>
            </a:pPr>
            <a:endParaRPr lang="en-US" sz="1800" dirty="0">
              <a:solidFill>
                <a:srgbClr val="081538"/>
              </a:solidFill>
              <a:latin typeface="Calibri"/>
              <a:ea typeface="+mn-lt"/>
              <a:cs typeface="Arial"/>
            </a:endParaRPr>
          </a:p>
          <a:p>
            <a:pPr marL="0" indent="0">
              <a:buNone/>
            </a:pPr>
            <a:endParaRPr lang="en-US" sz="1800" dirty="0">
              <a:solidFill>
                <a:srgbClr val="081538"/>
              </a:solidFill>
              <a:latin typeface="Arial"/>
              <a:ea typeface="+mn-lt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ea typeface="+mn-lt"/>
              <a:cs typeface="Arial"/>
            </a:endParaRPr>
          </a:p>
          <a:p>
            <a:pPr marL="0" indent="0">
              <a:buNone/>
            </a:pPr>
            <a:r>
              <a:rPr lang="en-US" sz="1800" b="1" dirty="0">
                <a:latin typeface="Calibri"/>
                <a:ea typeface="+mn-lt"/>
                <a:cs typeface="Calibri"/>
              </a:rPr>
              <a:t>    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br>
              <a:rPr lang="en-US" sz="1800" b="1" dirty="0">
                <a:latin typeface="Calibri"/>
                <a:ea typeface="+mn-lt"/>
                <a:cs typeface="Calibri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         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br>
              <a:rPr lang="en-US" sz="1800" b="1" dirty="0">
                <a:ea typeface="+mn-lt"/>
                <a:cs typeface="+mn-lt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     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r>
              <a:rPr lang="en-US" sz="1800" b="1" dirty="0">
                <a:latin typeface="Calibri"/>
                <a:ea typeface="+mn-lt"/>
                <a:cs typeface="Calibri"/>
              </a:rPr>
              <a:t> </a:t>
            </a:r>
            <a:br>
              <a:rPr lang="en-US" sz="1800" b="1" dirty="0">
                <a:latin typeface="Calibri"/>
                <a:ea typeface="+mn-lt"/>
                <a:cs typeface="Calibri"/>
              </a:rPr>
            </a:br>
            <a:endParaRPr lang="en-US" sz="1800" b="1" dirty="0">
              <a:latin typeface="Calibri"/>
              <a:ea typeface="Calibri"/>
              <a:cs typeface="Calibri"/>
            </a:endParaRPr>
          </a:p>
          <a:p>
            <a:pPr marL="0" indent="0">
              <a:buNone/>
            </a:pPr>
            <a:br>
              <a:rPr lang="en-US" sz="1800" b="1" dirty="0">
                <a:latin typeface="Calibri"/>
                <a:cs typeface="Calibri"/>
              </a:rPr>
            </a:br>
            <a:br>
              <a:rPr lang="en-US" sz="1800" b="1" dirty="0">
                <a:latin typeface="Calibri"/>
                <a:cs typeface="Calibri"/>
              </a:rPr>
            </a:br>
            <a:endParaRPr lang="en-US" sz="1800" b="1" dirty="0">
              <a:latin typeface="Calibri"/>
              <a:ea typeface="Calibri"/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AF65A2-CC78-92E2-D2C5-952A3A52F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726" y="191836"/>
            <a:ext cx="11029815" cy="454569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91E4CE-D04B-5AA5-7261-17067EBB19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AA3FBC-51B8-426A-8893-284E5C1F6D1D}" type="slidenum">
              <a:rPr kumimoji="0" lang="en-GB" sz="1107" b="0" i="0" u="none" strike="noStrike" kern="1200" cap="none" spc="0" normalizeH="0" baseline="0" noProof="0" smtClean="0">
                <a:ln>
                  <a:noFill/>
                </a:ln>
                <a:solidFill>
                  <a:srgbClr val="0815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107" b="0" i="0" u="none" strike="noStrike" kern="1200" cap="none" spc="0" normalizeH="0" baseline="0" noProof="0">
              <a:ln>
                <a:noFill/>
              </a:ln>
              <a:solidFill>
                <a:srgbClr val="0815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9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1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dQc1wUAnJwpWO..eEym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AbbVie Corporate Presentation Template 270218">
  <a:themeElements>
    <a:clrScheme name="AbbVie PPT 2018">
      <a:dk1>
        <a:srgbClr val="081538"/>
      </a:dk1>
      <a:lt1>
        <a:sysClr val="window" lastClr="FFFFFF"/>
      </a:lt1>
      <a:dk2>
        <a:srgbClr val="081538"/>
      </a:dk2>
      <a:lt2>
        <a:srgbClr val="E0E2E8"/>
      </a:lt2>
      <a:accent1>
        <a:srgbClr val="0F29FF"/>
      </a:accent1>
      <a:accent2>
        <a:srgbClr val="21BF97"/>
      </a:accent2>
      <a:accent3>
        <a:srgbClr val="7D00E0"/>
      </a:accent3>
      <a:accent4>
        <a:srgbClr val="FD6E0B"/>
      </a:accent4>
      <a:accent5>
        <a:srgbClr val="C2C6D2"/>
      </a:accent5>
      <a:accent6>
        <a:srgbClr val="E0E2E8"/>
      </a:accent6>
      <a:hlink>
        <a:srgbClr val="FD9740"/>
      </a:hlink>
      <a:folHlink>
        <a:srgbClr val="FEC372"/>
      </a:folHlink>
    </a:clrScheme>
    <a:fontScheme name="Custom 2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bVie Presentation Template (010218).potx" id="{5466C9BB-65BA-4787-845D-DB693C233927}" vid="{7033D81F-27F3-4DA3-AD8A-1FBD6C7CE3A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DFDBCB62990249AF5A212C14141AA8" ma:contentTypeVersion="16" ma:contentTypeDescription="Create a new document." ma:contentTypeScope="" ma:versionID="b07439d45abd25523cd799d4e42ca2f2">
  <xsd:schema xmlns:xsd="http://www.w3.org/2001/XMLSchema" xmlns:xs="http://www.w3.org/2001/XMLSchema" xmlns:p="http://schemas.microsoft.com/office/2006/metadata/properties" xmlns:ns2="28482806-9a33-47b7-a7ae-1786a4098709" xmlns:ns3="f61f5309-4501-4451-a6f9-238efda8f216" targetNamespace="http://schemas.microsoft.com/office/2006/metadata/properties" ma:root="true" ma:fieldsID="26ba7c10c12cf329c22418113a095383" ns2:_="" ns3:_="">
    <xsd:import namespace="28482806-9a33-47b7-a7ae-1786a4098709"/>
    <xsd:import namespace="f61f5309-4501-4451-a6f9-238efda8f2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482806-9a33-47b7-a7ae-1786a40987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25a41b1-9a94-4e8a-88a3-c62a4f92b3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1f5309-4501-4451-a6f9-238efda8f21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b9ccebc9-ae04-43be-b293-d066be45bf87}" ma:internalName="TaxCatchAll" ma:showField="CatchAllData" ma:web="f61f5309-4501-4451-a6f9-238efda8f2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A870CB0-343C-4B9E-A024-837285A088C9}">
  <ds:schemaRefs>
    <ds:schemaRef ds:uri="28482806-9a33-47b7-a7ae-1786a4098709"/>
    <ds:schemaRef ds:uri="f61f5309-4501-4451-a6f9-238efda8f2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FA7E269-30E1-48C4-AF60-93691A350A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319</Words>
  <Application>Microsoft Office PowerPoint</Application>
  <PresentationFormat>Widescreen</PresentationFormat>
  <Paragraphs>5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ptos</vt:lpstr>
      <vt:lpstr>Aptos Display</vt:lpstr>
      <vt:lpstr>Arial</vt:lpstr>
      <vt:lpstr>Calibri</vt:lpstr>
      <vt:lpstr>Calibri Light</vt:lpstr>
      <vt:lpstr>Courier New</vt:lpstr>
      <vt:lpstr>Courier New,monospace</vt:lpstr>
      <vt:lpstr>office theme</vt:lpstr>
      <vt:lpstr>1_office theme</vt:lpstr>
      <vt:lpstr>1_AbbVie Corporate Presentation Template 270218</vt:lpstr>
      <vt:lpstr>think-cell Slide</vt:lpstr>
      <vt:lpstr>PowerPoint Presentation</vt:lpstr>
      <vt:lpstr>RBQM -WIREFRAME UPDATES</vt:lpstr>
      <vt:lpstr>Agenda</vt:lpstr>
      <vt:lpstr>Agend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SriVishnu MS</cp:lastModifiedBy>
  <cp:revision>2</cp:revision>
  <dcterms:created xsi:type="dcterms:W3CDTF">2024-05-09T08:54:13Z</dcterms:created>
  <dcterms:modified xsi:type="dcterms:W3CDTF">2024-05-21T10:06:40Z</dcterms:modified>
</cp:coreProperties>
</file>